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428542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47956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91016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0928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1722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9798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83224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48800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65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5887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939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08058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782098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014573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790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12834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90285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33336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81154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26060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87961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15217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5445407abc8c3c0fa8c59212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9E16D5E3-56FB-4B00-95F6-FE79A105386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44336810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fr-FR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fr-F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750" dirty="0"/>
              <a:t>Améliorez les performances de votre productio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8238"/>
            <a:ext cx="7539038" cy="290513"/>
          </a:xfrm>
        </p:spPr>
        <p:txBody>
          <a:bodyPr/>
          <a:lstStyle/>
          <a:p>
            <a:r>
              <a:rPr lang="fr-FR" sz="1800" dirty="0"/>
              <a:t>Chaîne modulaire MCC pour l'entrée dosage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z="800" dirty="0"/>
              <a:t>Valeur : Efficacité, Maintenance</a:t>
            </a:r>
          </a:p>
          <a:p>
            <a:r>
              <a:rPr lang="fr-FR" sz="800" dirty="0"/>
              <a:t>Équipements : Palettiseurs / Dépalettiseurs</a:t>
            </a:r>
          </a:p>
          <a:p>
            <a:r>
              <a:rPr lang="fr-FR" sz="800" dirty="0"/>
              <a:t>Code catalogue </a:t>
            </a:r>
            <a:r>
              <a:rPr lang="fr-FR" sz="800"/>
              <a:t>: EOL021</a:t>
            </a:r>
            <a:endParaRPr lang="fr-FR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Gain de temps sur la maintenance grâce à une procédure de remplacement plus rapi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Meilleur contrôle de la position de l'emballage, synchronisation logique et meilleur contrôle du timing et de la vitesse d'entrée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Réglage du dosage affiné grâce aux nouveaux moteurs d'entraînement à chaînes brushless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Changement de format plus rapide et plus s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Le système d'entrée dosage originalement basé sur une courroie en caoutchouc </a:t>
            </a:r>
            <a:r>
              <a:rPr lang="fr-FR" sz="1200" dirty="0" err="1"/>
              <a:t>Habasit</a:t>
            </a:r>
            <a:r>
              <a:rPr lang="fr-FR" sz="1200" dirty="0"/>
              <a:t> est remplacé par la nouvelle chaîne modulaire MCC et une servocommande plus précise assurée par les moteurs </a:t>
            </a:r>
            <a:r>
              <a:rPr lang="fr-FR" sz="1200" dirty="0" err="1"/>
              <a:t>brushless</a:t>
            </a:r>
            <a:r>
              <a:rPr lang="fr-FR" sz="1200" dirty="0"/>
              <a:t>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Accès plus facile à la chaîne et procédure de maintenance simplifiée : inutile de démonter complètement la courroie ou les rouleaux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Disponibles sur les modèles IBH, IBP. IBU. IDU, IDV, IEU, IEV, IFU, IGU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8" y="4561714"/>
            <a:ext cx="950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/>
              <a:t>Courroie Habasit</a:t>
            </a:r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8" y="4488804"/>
            <a:ext cx="950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/>
              <a:t>Chaîne modulaire MCC</a:t>
            </a:r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8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Améliorez les performances de votre productio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1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7:29.425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